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100" d="100"/>
          <a:sy n="100" d="100"/>
        </p:scale>
        <p:origin x="-42" y="7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layout>
                <c:manualLayout>
                  <c:x val="-1.9928203546984859E-2"/>
                  <c:y val="2.188461966133211E-18"/>
                </c:manualLayout>
              </c:layout>
              <c:tx>
                <c:rich>
                  <a:bodyPr/>
                  <a:lstStyle/>
                  <a:p>
                    <a:r>
                      <a:rPr lang="en-US" dirty="0"/>
                      <a:t>34%</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6443278566079453"/>
                      <c:h val="0.11276359600443951"/>
                    </c:manualLayout>
                  </c15:layout>
                  <c15:showDataLabelsRange val="1"/>
                </c:ext>
                <c:ext xmlns:c16="http://schemas.microsoft.com/office/drawing/2014/chart" uri="{C3380CC4-5D6E-409C-BE32-E72D297353CC}">
                  <c16:uniqueId val="{00000000-AE26-433D-82F1-4674F4195729}"/>
                </c:ext>
              </c:extLst>
            </c:dLbl>
            <c:dLbl>
              <c:idx val="1"/>
              <c:tx>
                <c:rich>
                  <a:bodyPr/>
                  <a:lstStyle/>
                  <a:p>
                    <a:fld id="{D02F68D5-0898-4297-8E2C-D430AFB10878}"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E53A704A-22F9-408B-9C91-FFD2107C13B4}"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4DD4E3B4-F36E-4C41-B13F-CA5694BA9B5F}"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4</c:v>
                </c:pt>
                <c:pt idx="1">
                  <c:v>0.28000000000000003</c:v>
                </c:pt>
                <c:pt idx="2">
                  <c:v>0.28000000000000003</c:v>
                </c:pt>
                <c:pt idx="3">
                  <c:v>0.0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REF!</c15:f>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2230345A-16CB-46B7-A74B-6FBC78F6F3DD}"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7B587183-15E4-461D-BB9E-726E65831D63}"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4FE8CBA3-ED75-402A-B892-3ABF55EFED51}" type="VALUE">
                      <a:rPr lang="en-US"/>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49</c:v>
                </c:pt>
                <c:pt idx="3">
                  <c:v>0.3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REF!</c15:f>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9</c:v>
                </c:pt>
                <c:pt idx="1">
                  <c:v>0.78</c:v>
                </c:pt>
                <c:pt idx="2">
                  <c:v>0.82</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1F464DA-7F2A-45B1-8B82-65C223E5DD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16FD1EEB-3966-4CAB-B6EF-D6DA03B0D5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AF742C6-3417-4AFA-A4C1-C60BD8CE40D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1</c:v>
                </c:pt>
                <c:pt idx="1">
                  <c:v>0.22</c:v>
                </c:pt>
                <c:pt idx="2">
                  <c:v>0.18</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9%</c:v>
                  </c:pt>
                  <c:pt idx="1">
                    <c:v>78%</c:v>
                  </c:pt>
                  <c:pt idx="2">
                    <c:v>82%</c:v>
                  </c:pt>
                  <c:pt idx="3">
                    <c:v>9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1</c:v>
                </c:pt>
                <c:pt idx="1">
                  <c:v>0</c:v>
                </c:pt>
                <c:pt idx="2">
                  <c:v>0.9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BE8E8940-94E2-4227-AC73-F6F8713337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B0132984-9D4C-41F0-95F8-0FB2C501F9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0AC5448-0326-4A93-BF3A-0C2AD39F838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FDAF976-9CD7-46BB-B30C-898D6830E6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9</c:v>
                </c:pt>
                <c:pt idx="1">
                  <c:v>0</c:v>
                </c:pt>
                <c:pt idx="2">
                  <c:v>0.0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c:v>
                  </c:pt>
                  <c:pt idx="2">
                    <c:v>94%</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3</c:v>
                </c:pt>
                <c:pt idx="1">
                  <c:v>0.87</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F756C27F-4574-45B9-BAEE-12B6E19D45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595EFB50-0ECE-46D6-B884-D04125F080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69B7D2E-A6B5-4576-97CD-6DDB4DCB08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52240D27-097D-4AB8-B394-3D71AD4A687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7</c:v>
                </c:pt>
                <c:pt idx="1">
                  <c:v>0.13</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3%</c:v>
                  </c:pt>
                  <c:pt idx="1">
                    <c:v>87%</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B239BDC1-165A-45E8-8131-FE8F32E846C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4A3E020B-7193-4C31-8C46-FC6824C1ADD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3</c:v>
                </c:pt>
                <c:pt idx="1">
                  <c:v>0.79</c:v>
                </c:pt>
                <c:pt idx="2">
                  <c:v>0.89</c:v>
                </c:pt>
                <c:pt idx="3">
                  <c:v>0.88</c:v>
                </c:pt>
                <c:pt idx="4">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E287D6AD-01C6-4946-AE62-E158F0C761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C2FBA274-3129-4FC1-AC5B-6A3838A233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3AEEF933-A4E8-4784-BA7B-A7A2AD6FBF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5482BEFD-D967-49A8-8E3F-4147F9A275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7</c:v>
                </c:pt>
                <c:pt idx="1">
                  <c:v>0.21</c:v>
                </c:pt>
                <c:pt idx="2">
                  <c:v>0.11</c:v>
                </c:pt>
                <c:pt idx="3">
                  <c:v>0.12</c:v>
                </c:pt>
                <c:pt idx="4">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3%</c:v>
                  </c:pt>
                  <c:pt idx="1">
                    <c:v>79%</c:v>
                  </c:pt>
                  <c:pt idx="2">
                    <c:v>89%</c:v>
                  </c:pt>
                  <c:pt idx="3">
                    <c:v>88%</c:v>
                  </c:pt>
                  <c:pt idx="4">
                    <c:v>88%</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9</c:v>
                </c:pt>
                <c:pt idx="2">
                  <c:v>0.82</c:v>
                </c:pt>
                <c:pt idx="3">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5D5C5778-971E-4A51-BD80-A5A6EAE2C5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2F691399-AF5F-4AC3-9531-76080E6435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F3978D2E-A2EF-4EEE-8E70-0F68066D71B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1</c:v>
                </c:pt>
                <c:pt idx="2">
                  <c:v>0.18</c:v>
                </c:pt>
                <c:pt idx="3">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9%</c:v>
                  </c:pt>
                  <c:pt idx="2">
                    <c:v>82%</c:v>
                  </c:pt>
                  <c:pt idx="3">
                    <c:v>90%</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85</c:v>
                </c:pt>
                <c:pt idx="3">
                  <c:v>0.77</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841E0A64-B98F-41B1-9E27-04154C20FB4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7B2FEC3F-2ACD-4D8E-90EB-3AF9CF4867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0B73628B-4CD3-40DB-BB78-C65150748F6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2C42BC49-AF25-40A0-BBFF-DDFCB958A6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15</c:v>
                </c:pt>
                <c:pt idx="3">
                  <c:v>0.2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c:v>
                  </c:pt>
                  <c:pt idx="2">
                    <c:v>85%</c:v>
                  </c:pt>
                  <c:pt idx="3">
                    <c:v>77%</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BC4C9450-3950-4DD2-98E6-AD62EB5240C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34594B14-2353-4400-94E3-AE6BC48D847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58AB347F-4C76-4F25-B3E6-4E6ED561FC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696947F6-EEE0-44DB-8CA2-E0D285E50D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84%</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65E51B75-8076-4D12-B957-C41185DE93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758D2057-C3A7-4A67-92C8-7BDC5F47E3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3</c:v>
                </c:pt>
                <c:pt idx="2">
                  <c:v>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8</c:v>
                </c:pt>
                <c:pt idx="1">
                  <c:v>10</c:v>
                </c:pt>
                <c:pt idx="2">
                  <c:v>2</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4512F2AF-4313-4810-BA1A-9288153B22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30768E49-D308-4BF7-BFC0-369BF181E2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CD597D02-18F8-4A40-B852-D942BCF5E0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19FF2AEC-4DDD-4382-91E8-397D60ADCF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7C2DCD6C-4E6B-450D-8A9F-9CD0757A2B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5</c:v>
                </c:pt>
                <c:pt idx="2">
                  <c:v>1</c:v>
                </c:pt>
                <c:pt idx="3">
                  <c:v>1</c:v>
                </c:pt>
                <c:pt idx="4">
                  <c:v>3</c:v>
                </c:pt>
                <c:pt idx="5">
                  <c:v>2</c:v>
                </c:pt>
                <c:pt idx="6">
                  <c:v>3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5%</c:v>
                  </c:pt>
                  <c:pt idx="2">
                    <c:v>1%q</c:v>
                  </c:pt>
                  <c:pt idx="3">
                    <c:v>1%</c:v>
                  </c:pt>
                  <c:pt idx="4">
                    <c:v>3%</c:v>
                  </c:pt>
                  <c:pt idx="5">
                    <c:v>2%</c:v>
                  </c:pt>
                  <c:pt idx="6">
                    <c:v>38%</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4A0C632F-A2DF-461E-8629-10AE20616B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0C3F1EBA-977C-469E-ADF0-D1D4D955A8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AB22284F-67D1-48CE-90CE-1EE70AB306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B2FAFB0B-07A4-48CF-B661-F493D58AF0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9ADFF0C8-B752-460F-8BCC-DA717FDAA2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7</c:v>
                </c:pt>
                <c:pt idx="2">
                  <c:v>3</c:v>
                </c:pt>
                <c:pt idx="3">
                  <c:v>3</c:v>
                </c:pt>
                <c:pt idx="4">
                  <c:v>12</c:v>
                </c:pt>
                <c:pt idx="5">
                  <c:v>5</c:v>
                </c:pt>
                <c:pt idx="6">
                  <c:v>3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7%</c:v>
                  </c:pt>
                  <c:pt idx="2">
                    <c:v>3%</c:v>
                  </c:pt>
                  <c:pt idx="3">
                    <c:v>3%</c:v>
                  </c:pt>
                  <c:pt idx="4">
                    <c:v>12%</c:v>
                  </c:pt>
                  <c:pt idx="5">
                    <c:v>5%</c:v>
                  </c:pt>
                  <c:pt idx="6">
                    <c:v>38%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9696CC9E-177B-43D6-B53E-870DE9CAEE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72EF77FF-A848-4AF3-9895-AAFBFB08D8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BFCAB1A4-88FE-4A46-900F-7537AC7E50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99817785-51BB-4E62-B36F-3A1B0E6ACF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FDB45AD8-1BB8-4C5F-BE96-6BE3C335B9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CD487A0B-F780-48A3-9492-AB0075DD1A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1</c:v>
                </c:pt>
                <c:pt idx="1">
                  <c:v>7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1%</c:v>
                  </c:pt>
                  <c:pt idx="1">
                    <c:v>79%</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B9C798CF-C5BF-4217-88F4-536624B8B4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0F0BDA12-7027-4263-A12D-96F928A323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10BF5907-09BB-49DB-82D2-C607B96C19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501C1BE2-5F20-4FA3-8C61-AE3B46CF3B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5%</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ACA10366-581C-44AD-97B8-698C73492E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1A2D0143-93CB-483F-941C-D25F657B54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3B36FA7-B305-4441-8BDE-57540E380D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E71CB82-EC43-4664-B2E6-19EC1A16BE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F6C7B0F2-EB1C-4E19-B34B-A88C761AE0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7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6</c:v>
                </c:pt>
                <c:pt idx="1">
                  <c:v>7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6%p</c:v>
                  </c:pt>
                  <c:pt idx="1">
                    <c:v>74%q</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FD0BA8D2-DB98-4806-B86A-E6E1DF5A12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q</c:v>
                  </c:pt>
                  <c:pt idx="1">
                    <c:v>98%p</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00A433BC-0B01-46EC-B50A-202C236721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1D0E3513-0B68-4694-934A-A613BDB30D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c:v>
                  </c:pt>
                  <c:pt idx="1">
                    <c:v>94%</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C81606AA-F426-4434-A134-4865D03331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fld id="{62EF19AC-D4F9-4887-B2CC-D19B512F62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5535C215-0CB5-4121-96A5-5A1B06E5DE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43452498-C551-41B9-831F-2188611109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94</c:v>
                </c:pt>
                <c:pt idx="2">
                  <c:v>83</c:v>
                </c:pt>
                <c:pt idx="3">
                  <c:v>73</c:v>
                </c:pt>
                <c:pt idx="4">
                  <c:v>95</c:v>
                </c:pt>
                <c:pt idx="5">
                  <c:v>38</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4%</c:v>
                  </c:pt>
                  <c:pt idx="1">
                    <c:v>94%p</c:v>
                  </c:pt>
                  <c:pt idx="2">
                    <c:v>83%</c:v>
                  </c:pt>
                  <c:pt idx="3">
                    <c:v>73%</c:v>
                  </c:pt>
                  <c:pt idx="4">
                    <c:v>95%p</c:v>
                  </c:pt>
                  <c:pt idx="5">
                    <c:v>38%p</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A782AC7-3019-4191-A5EB-2BF73D969F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ED7E0C08-A870-4EB0-A820-3220DC03F6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555DB424-42DE-451B-B16E-917C41C68F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2E1AC20D-B34C-4E6E-92DD-3F9EA8BFE2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53072F7B-A170-42D4-9634-0F1566BACB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6FDC3424-153C-43A3-B769-7B1B28049F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8F954BD5-1687-4E0A-85F6-8BD7B68EBB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0</c:v>
                </c:pt>
                <c:pt idx="2">
                  <c:v>75</c:v>
                </c:pt>
                <c:pt idx="3">
                  <c:v>63</c:v>
                </c:pt>
                <c:pt idx="4">
                  <c:v>86</c:v>
                </c:pt>
                <c:pt idx="5">
                  <c:v>47</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c:v>
                  </c:pt>
                  <c:pt idx="1">
                    <c:v>90%</c:v>
                  </c:pt>
                  <c:pt idx="2">
                    <c:v>75%</c:v>
                  </c:pt>
                  <c:pt idx="3">
                    <c:v>63%</c:v>
                  </c:pt>
                  <c:pt idx="4">
                    <c:v>86%</c:v>
                  </c:pt>
                  <c:pt idx="5">
                    <c:v>47%</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0</c:v>
                </c:pt>
                <c:pt idx="1">
                  <c:v>33</c:v>
                </c:pt>
                <c:pt idx="2">
                  <c:v>13</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8</c:v>
                </c:pt>
                <c:pt idx="1">
                  <c:v>35</c:v>
                </c:pt>
                <c:pt idx="2">
                  <c:v>15</c:v>
                </c:pt>
                <c:pt idx="3">
                  <c:v>6</c:v>
                </c:pt>
                <c:pt idx="4">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54E90736-3056-49B0-91DA-A67CF872C8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4516558-70C1-47FF-9313-B76F6C697C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99E8DE99-F315-4FC2-995D-5754AD4935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FA370CB4-A6A0-4EB8-967F-CBCEC01959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4</c:v>
                </c:pt>
                <c:pt idx="2">
                  <c:v>7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52</c:v>
                </c:pt>
                <c:pt idx="2">
                  <c:v>4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9</c:v>
                </c:pt>
                <c:pt idx="2">
                  <c:v>30</c:v>
                </c:pt>
                <c:pt idx="3">
                  <c:v>20</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7</c:v>
                </c:pt>
                <c:pt idx="2">
                  <c:v>20</c:v>
                </c:pt>
                <c:pt idx="3">
                  <c:v>17</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9.6000000000000002E-2</c:v>
                </c:pt>
                <c:pt idx="1">
                  <c:v>0.13</c:v>
                </c:pt>
                <c:pt idx="2">
                  <c:v>0.23499999999999999</c:v>
                </c:pt>
                <c:pt idx="3">
                  <c:v>0.23499999999999999</c:v>
                </c:pt>
                <c:pt idx="4">
                  <c:v>0.305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54</c:v>
                </c:pt>
                <c:pt idx="1">
                  <c:v>0.156</c:v>
                </c:pt>
                <c:pt idx="2">
                  <c:v>0.251</c:v>
                </c:pt>
                <c:pt idx="3">
                  <c:v>0.24</c:v>
                </c:pt>
                <c:pt idx="4">
                  <c:v>0.198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1</c:v>
                </c:pt>
                <c:pt idx="2">
                  <c:v>29</c:v>
                </c:pt>
                <c:pt idx="3">
                  <c:v>23</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9</c:v>
                </c:pt>
                <c:pt idx="2">
                  <c:v>22</c:v>
                </c:pt>
                <c:pt idx="3">
                  <c:v>21</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4</c:v>
                </c:pt>
                <c:pt idx="2">
                  <c:v>26</c:v>
                </c:pt>
                <c:pt idx="3">
                  <c:v>19</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31</c:v>
                </c:pt>
                <c:pt idx="2">
                  <c:v>18</c:v>
                </c:pt>
                <c:pt idx="3">
                  <c:v>11</c:v>
                </c:pt>
                <c:pt idx="4">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722E3C84-6BA5-4902-A150-D4B241098A93}"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612CF2CB-8782-4D93-8610-8A8475FEE2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592D51CD-132A-42A1-A890-7F2876A183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63F3B980-EA8C-4323-A378-09B8D5023F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C0B7620B-2C51-4FCD-8E68-19E34BABF8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06</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89%</c:v>
                  </c:pt>
                  <c:pt idx="1">
                    <c:v>-</c:v>
                  </c:pt>
                  <c:pt idx="2">
                    <c:v>6%</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15D3C8F9-E4ED-4DA0-A06A-A817C765B59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4358E111-368D-499E-A485-C3EA3B2680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4434D628-883A-467C-A398-7D39539FF1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8C119916-84A8-4546-8DC0-548EDAD040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D490FA5E-6889-40D3-A189-99CBF79A67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5</c:v>
                </c:pt>
                <c:pt idx="1">
                  <c:v>0</c:v>
                </c:pt>
                <c:pt idx="2">
                  <c:v>0.09</c:v>
                </c:pt>
                <c:pt idx="3">
                  <c:v>0.03</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85%</c:v>
                  </c:pt>
                  <c:pt idx="1">
                    <c:v>-</c:v>
                  </c:pt>
                  <c:pt idx="2">
                    <c:v>9%</c:v>
                  </c:pt>
                  <c:pt idx="3">
                    <c:v>3%</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30</c:v>
                </c:pt>
                <c:pt idx="3">
                  <c:v>20</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7</c:v>
                </c:pt>
                <c:pt idx="2">
                  <c:v>29</c:v>
                </c:pt>
                <c:pt idx="3">
                  <c:v>13</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4</c:v>
                </c:pt>
                <c:pt idx="2">
                  <c:v>44</c:v>
                </c:pt>
                <c:pt idx="3">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2</c:v>
                </c:pt>
                <c:pt idx="2">
                  <c:v>33</c:v>
                </c:pt>
                <c:pt idx="3">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42</c:v>
                </c:pt>
                <c:pt idx="2">
                  <c:v>8</c:v>
                </c:pt>
                <c:pt idx="3">
                  <c:v>2</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2</c:v>
                </c:pt>
                <c:pt idx="1">
                  <c:v>28</c:v>
                </c:pt>
                <c:pt idx="2">
                  <c:v>5</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1</c:v>
                </c:pt>
                <c:pt idx="2">
                  <c:v>14</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6</c:v>
                </c:pt>
                <c:pt idx="2">
                  <c:v>11</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3F853984-EB1C-4C4C-8590-660B72F758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A415C686-B430-4D47-BD73-E93C175AD1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80F653F-C585-4BC8-941D-FEAF4BA97F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1A9A79F4-2DFB-46EC-A5ED-FABEA7F805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6C0DBCF4-34FB-49EF-8C93-5288864185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285529E0-8A6E-4F38-9BC8-97FF2F6A17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9</c:v>
                </c:pt>
                <c:pt idx="1">
                  <c:v>4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9%</c:v>
                  </c:pt>
                  <c:pt idx="1">
                    <c:v>41%</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DD898E5-7131-495A-8F39-1CEB709E24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06DED9E9-15B5-4E7A-936A-2FD7BC98BF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5E3B1EED-6A05-4F2F-9599-B0027ACDDC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66C969BB-ED67-4705-8572-E1023744F1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3F30BFCB-3FBB-4EA7-BC5C-8B0B611DC0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B23083D9-BE39-4979-A1F3-36AF02C85A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9%</c:v>
                  </c:pt>
                  <c:pt idx="1">
                    <c:v>61%</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3E1F1C6A-4C16-45B3-B74C-2BD1EE4620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F25A8477-4919-4061-BB36-286DA2E0C3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1CEF71BD-4E6E-4294-A27B-51AAF7AB20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796C58A9-AB5B-4136-A96D-FA688D96E4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6FC9C785-8A01-4BDC-BE68-D206BA59BC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777B15A1-8BA4-4A82-9AE3-BF5B7DDB09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3FDF32C4-2193-4B5E-A1AD-9269A572AF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24A3D974-9A8F-4FBC-8698-4B64CD3372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961AF959-FC6E-49F6-8306-A475F22448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32A7640B-12E6-4418-AD62-31F51BCB6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6</c:v>
                </c:pt>
                <c:pt idx="1">
                  <c:v>3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6%</c:v>
                  </c:pt>
                  <c:pt idx="1">
                    <c:v>34%</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2356F670-9879-42CC-AC70-A7C9951564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6902880A-DF28-4594-AA54-FA6C9DC263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A943CF30-9F68-4C92-8471-C64C08AE20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3C4022F0-A879-4F8E-8764-C741988321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7B868C91-5234-42FF-898E-0EDE883F20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C420AD01-E82B-4334-A837-13F026FF85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1</c:v>
                </c:pt>
                <c:pt idx="1">
                  <c:v>37</c:v>
                </c:pt>
                <c:pt idx="2">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0</c:v>
                </c:pt>
                <c:pt idx="1">
                  <c:v>53</c:v>
                </c:pt>
                <c:pt idx="2">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C2E98DC3-522B-4C6D-B88A-A7CA48EB1B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3C7AA49B-2D16-4CAA-83AD-DD8C16510B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EE5635D5-CB37-45DD-A555-1DD2966134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5800D0D0-5890-4642-9D48-C666675091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C7CAB9AF-C0BE-4BA4-84E3-E826B43AAD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090EF5A4-8147-495D-97F4-B0637FF1BF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3</c:v>
                </c:pt>
                <c:pt idx="1">
                  <c:v>5</c:v>
                </c:pt>
                <c:pt idx="2">
                  <c:v>66</c:v>
                </c:pt>
                <c:pt idx="3">
                  <c:v>34</c:v>
                </c:pt>
                <c:pt idx="4">
                  <c:v>19</c:v>
                </c:pt>
                <c:pt idx="5">
                  <c:v>18</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3%</c:v>
                  </c:pt>
                  <c:pt idx="1">
                    <c:v>5%</c:v>
                  </c:pt>
                  <c:pt idx="2">
                    <c:v>66%</c:v>
                  </c:pt>
                  <c:pt idx="3">
                    <c:v>34%</c:v>
                  </c:pt>
                  <c:pt idx="4">
                    <c:v>19%</c:v>
                  </c:pt>
                  <c:pt idx="5">
                    <c:v>18%</c:v>
                  </c:pt>
                  <c:pt idx="6">
                    <c:v>10%</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E4302923-64C3-4059-AF06-7322DCADDA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31CABB71-C45D-4FFA-8BE6-01DD8F16DE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ECEB36C8-F02F-40AB-9F2A-0F3FB82D4E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E573581C-146C-4DAF-9905-3CC553B46C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BF527DA2-63CA-425B-BE31-D87FAF01AA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45588EE3-5CC6-48DB-819F-CC6EA25330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6</c:v>
                </c:pt>
                <c:pt idx="1">
                  <c:v>14</c:v>
                </c:pt>
                <c:pt idx="2">
                  <c:v>31</c:v>
                </c:pt>
                <c:pt idx="3">
                  <c:v>45</c:v>
                </c:pt>
                <c:pt idx="4">
                  <c:v>7</c:v>
                </c:pt>
                <c:pt idx="5">
                  <c:v>18</c:v>
                </c:pt>
                <c:pt idx="6">
                  <c:v>1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6%</c:v>
                  </c:pt>
                  <c:pt idx="1">
                    <c:v>14%</c:v>
                  </c:pt>
                  <c:pt idx="2">
                    <c:v>31%</c:v>
                  </c:pt>
                  <c:pt idx="3">
                    <c:v>45%</c:v>
                  </c:pt>
                  <c:pt idx="4">
                    <c:v>7%</c:v>
                  </c:pt>
                  <c:pt idx="5">
                    <c:v>18%</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38</c:v>
                </c:pt>
                <c:pt idx="2">
                  <c:v>7</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40</c:v>
                </c:pt>
                <c:pt idx="2">
                  <c:v>3</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3</c:v>
                </c:pt>
                <c:pt idx="1">
                  <c:v>0.77</c:v>
                </c:pt>
                <c:pt idx="2">
                  <c:v>0.76</c:v>
                </c:pt>
                <c:pt idx="3">
                  <c:v>0.8</c:v>
                </c:pt>
                <c:pt idx="4">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02D5061F-2AC4-4338-9F65-34ECC3F82ED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068AE224-A945-4588-93EC-F38340AA29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298A4D28-57B3-4633-86A6-35BD933935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6C769CBA-DCFF-435F-8AA2-4727775640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7</c:v>
                </c:pt>
                <c:pt idx="1">
                  <c:v>0.23</c:v>
                </c:pt>
                <c:pt idx="2">
                  <c:v>0.24</c:v>
                </c:pt>
                <c:pt idx="3">
                  <c:v>0.2</c:v>
                </c:pt>
                <c:pt idx="4">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77%</c:v>
                  </c:pt>
                  <c:pt idx="2">
                    <c:v>76%</c:v>
                  </c:pt>
                  <c:pt idx="3">
                    <c:v>80%</c:v>
                  </c:pt>
                  <c:pt idx="4">
                    <c:v>8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1957</cdr:x>
      <cdr:y>0.12192</cdr:y>
    </cdr:from>
    <cdr:to>
      <cdr:x>0.35672</cdr:x>
      <cdr:y>0.233</cdr:y>
    </cdr:to>
    <cdr:sp macro="" textlink="">
      <cdr:nvSpPr>
        <cdr:cNvPr id="2" name="TextBox 1">
          <a:extLst xmlns:a="http://schemas.openxmlformats.org/drawingml/2006/main">
            <a:ext uri="{FF2B5EF4-FFF2-40B4-BE49-F238E27FC236}">
              <a16:creationId xmlns:a16="http://schemas.microsoft.com/office/drawing/2014/main" id="{7549E3E6-16CA-3E95-3482-42A3A1B17A07}"/>
            </a:ext>
          </a:extLst>
        </cdr:cNvPr>
        <cdr:cNvSpPr txBox="1"/>
      </cdr:nvSpPr>
      <cdr:spPr>
        <a:xfrm xmlns:a="http://schemas.openxmlformats.org/drawingml/2006/main">
          <a:off x="559714" y="202666"/>
          <a:ext cx="349620" cy="184666"/>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spcBef>
              <a:spcPts val="400"/>
            </a:spcBef>
            <a:spcAft>
              <a:spcPts val="400"/>
            </a:spcAft>
          </a:pPr>
          <a:r>
            <a:rPr lang="en-GB" sz="1200" b="1" dirty="0"/>
            <a:t>-</a:t>
          </a: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AMBRIDGESHIRE AND PETERBOROUGH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AMBRIDGESHIRE AND PETERBOROUGH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AMBRIDGESHIRE AND PETERBOROUGH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AMBRIDGESHIRE AND PETERBOROUGH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AMBRIDGESHIRE AND PETERBOROUGH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CAMBRIDGESHIRE AND PETERBOROUGH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73603919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pressure check as part of their last annual review
Having a blood test check as part of their last annual review
Having a smoking status review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1736168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8511913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7630116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AMBRIDGESHIRE AND PETERBOROUGH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6734769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49311640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8% of respondents who were marked as Type 1 in the sample selected ‘Type 1’, 10%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93% of respondents who were marked as Type 2 in the sample selected ‘Type 2’, 2%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22); Type 2, ICS (57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14097857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807063671"/>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477967176"/>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1416215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8347140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3); Type 2, National (19,941), ICS (476))</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03905545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6093444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3); Type 2, National (22,278), ICS (545))</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19497863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9240073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9); Type 2, National (21,082), ICS (49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55059739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303995674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20); Type 2, National (24,180), ICS (580))</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37398652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969171656"/>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917951540"/>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548684145"/>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7736660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6); Type 2, National (22,482), ICS (545))</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83396786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7921821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97957736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61861795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52159230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79056274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10868357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68278288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8340964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15); Type 2, National (22,670), ICS (55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6660344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65294038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8757916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8349335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4671146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66022879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2518349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90145510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2281133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20); Type 2, National (24,076), ICS (576))</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03455376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7423602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73363942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23654571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767777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0990175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92750034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76111616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22); Type 2, National (24,153), ICS (57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4543521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1833543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85103249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0649350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02316932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4126135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82171687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07307844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42240914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22); Type 2, National (24,135), ICS (57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6243117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8708986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13784736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60015512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4296129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421362824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89772454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429135975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9298934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21); Type 2, National (24,084), ICS (57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900605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77894274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9057172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87550691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9063183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93852297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61398614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79053812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417277710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22); Type 2, National (24,070), ICS (57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30116567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763532727"/>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59496146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421520297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553303772"/>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0919646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133813978"/>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32539134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97501349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22); Type 2, National (24,260), ICS (58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3470801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52870839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5008828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5046663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6639228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6550701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5986447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91437515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49933552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22); Type 2, National (24,267), ICS (58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3229447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6350056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90409167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8930845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2528921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82287165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97433943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81853418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127536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22); Type 2, National (24,196), ICS (57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4814560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9992030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73781896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22); Type 2, National (24,019), ICS (57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2545745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85527137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7); Type 2, National (11,860), ICS (295))</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93730875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7725133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05); Type 2, National (21,228), ICS (516))</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48045544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54710986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06); Type 2, National (20,915), ICS (507))</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93947707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238992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7); Type 2, National (20,086), ICS (478))</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407991806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2883734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91); Type 2, National (21,890), ICS (529))</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92496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20358870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4); Type 2, National (18,585), ICS (441))</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3330829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5995207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34952800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9233719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41917851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79508274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55014354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3196981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8); Type 2, National (22,580), ICS (53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8506115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29933232"/>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10197907"/>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584673227"/>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021892038"/>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70395718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07); Type 2, National (12,350), ICS (301))</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82658070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150928439"/>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40309396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5025663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52341479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1341844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5446603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8153705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9); Type 2, National (10,911), ICS (27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8039095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6218286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13054790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080812128"/>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216488029"/>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59332474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65110716"/>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36577692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799526970"/>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767913745"/>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112213267"/>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409730197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048401257"/>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43))</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CAMBRIDGESHIRE AND PETERBOROUGH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16</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0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22</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8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1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06</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792383242"/>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92093739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4285462677"/>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48075778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41964082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967661905"/>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712645258"/>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AMBRIDGESHIRE AND PETERBOROUGH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85115056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49225167"/>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77989622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8197977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0</TotalTime>
  <Words>5298</Words>
  <Application>Microsoft Office PowerPoint</Application>
  <PresentationFormat>Widescreen</PresentationFormat>
  <Paragraphs>80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vt:lpstr>
      <vt:lpstr>Arial (Body)</vt:lpstr>
      <vt:lpstr>Wingdings 3</vt:lpstr>
      <vt:lpstr>Roboto</vt:lpstr>
      <vt:lpstr>Segoe UI</vt:lpstr>
      <vt:lpstr>HelveticaNeueLT Std Lt Cn</vt:lpstr>
      <vt:lpstr>Barlow</vt:lpstr>
      <vt:lpstr>Wingdings</vt:lpstr>
      <vt:lpstr>Arial Black</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3</cp:revision>
  <cp:lastPrinted>2024-09-17T13:37:47Z</cp:lastPrinted>
  <dcterms:created xsi:type="dcterms:W3CDTF">2024-06-17T14:42:21Z</dcterms:created>
  <dcterms:modified xsi:type="dcterms:W3CDTF">2024-12-02T11: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